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B37AE-367D-C779-FE9B-7A3579120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FDB2872A-C1C4-417C-3F53-DCB76D95D2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B2872A-C1C4-417C-3F53-DCB76D95D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94658A-9008-0AD6-3FC2-912E456F7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71F0FF-A374-B553-9DB2-BA1D6E054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247B26-549C-6648-D582-C2660563620E}"/>
              </a:ext>
            </a:extLst>
          </p:cNvPr>
          <p:cNvCxnSpPr>
            <a:cxnSpLocks/>
            <a:stCxn id="41" idx="4"/>
            <a:endCxn id="27" idx="0"/>
          </p:cNvCxnSpPr>
          <p:nvPr/>
        </p:nvCxnSpPr>
        <p:spPr>
          <a:xfrm flipH="1" flipV="1">
            <a:off x="1875434" y="3586480"/>
            <a:ext cx="1812622" cy="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908BAE2-5E6D-E85B-ABBF-BB53BAF471C1}"/>
              </a:ext>
            </a:extLst>
          </p:cNvPr>
          <p:cNvCxnSpPr>
            <a:cxnSpLocks/>
            <a:stCxn id="47" idx="5"/>
            <a:endCxn id="50" idx="1"/>
          </p:cNvCxnSpPr>
          <p:nvPr/>
        </p:nvCxnSpPr>
        <p:spPr>
          <a:xfrm flipH="1">
            <a:off x="2140886" y="2945608"/>
            <a:ext cx="1281718" cy="128174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4645AF7-D948-E4F3-8A0E-900AB707FA11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>
            <a:off x="2781746" y="2680148"/>
            <a:ext cx="0" cy="1812665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4501E6-8B38-8BC8-0110-8F62F41FA3E8}"/>
              </a:ext>
            </a:extLst>
          </p:cNvPr>
          <p:cNvCxnSpPr>
            <a:cxnSpLocks/>
            <a:stCxn id="49" idx="7"/>
            <a:endCxn id="32" idx="3"/>
          </p:cNvCxnSpPr>
          <p:nvPr/>
        </p:nvCxnSpPr>
        <p:spPr>
          <a:xfrm>
            <a:off x="2140886" y="2945604"/>
            <a:ext cx="1281718" cy="128175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ctagon 8">
            <a:extLst>
              <a:ext uri="{FF2B5EF4-FFF2-40B4-BE49-F238E27FC236}">
                <a16:creationId xmlns:a16="http://schemas.microsoft.com/office/drawing/2014/main" id="{822C53E7-597B-F3E6-567B-AE4F42FA499B}"/>
              </a:ext>
            </a:extLst>
          </p:cNvPr>
          <p:cNvSpPr/>
          <p:nvPr/>
        </p:nvSpPr>
        <p:spPr>
          <a:xfrm>
            <a:off x="1255172" y="2058654"/>
            <a:ext cx="3040457" cy="3030262"/>
          </a:xfrm>
          <a:prstGeom prst="oc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27F3BE-2B13-14B8-1CFA-EA824D67A84A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70089F-CFA1-4681-DC76-A825E9C96982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85CAA489-2BEA-A2B1-FEA7-0F4C35586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620B91CB-DE54-BABC-BD1E-BE033709E5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28">
              <a:extLst>
                <a:ext uri="{FF2B5EF4-FFF2-40B4-BE49-F238E27FC236}">
                  <a16:creationId xmlns:a16="http://schemas.microsoft.com/office/drawing/2014/main" id="{0189EAC0-104F-6701-9C42-C30B26B44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7C211856-9234-EA1E-A151-43D2D5FC4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332A346A-F283-C109-C7E7-D8E963AC2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20A1A673-F48F-E118-2741-5D25707C1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B438AC6-D5BB-6E6B-E546-6660F285EA87}"/>
              </a:ext>
            </a:extLst>
          </p:cNvPr>
          <p:cNvGrpSpPr/>
          <p:nvPr/>
        </p:nvGrpSpPr>
        <p:grpSpPr>
          <a:xfrm>
            <a:off x="2286531" y="1689764"/>
            <a:ext cx="990430" cy="990384"/>
            <a:chOff x="876630" y="3815779"/>
            <a:chExt cx="1068006" cy="106795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17EFE07-EA3F-96C7-61E4-00169389FF9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22F34C3-76A8-F0B7-FF18-C4E9A07D7478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4" name="Freeform 17">
                <a:extLst>
                  <a:ext uri="{FF2B5EF4-FFF2-40B4-BE49-F238E27FC236}">
                    <a16:creationId xmlns:a16="http://schemas.microsoft.com/office/drawing/2014/main" id="{D3EA611B-380C-F3D1-51AF-9BE3862BC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18">
                <a:extLst>
                  <a:ext uri="{FF2B5EF4-FFF2-40B4-BE49-F238E27FC236}">
                    <a16:creationId xmlns:a16="http://schemas.microsoft.com/office/drawing/2014/main" id="{B78568D8-29CB-3933-FD98-B8259A504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19">
                <a:extLst>
                  <a:ext uri="{FF2B5EF4-FFF2-40B4-BE49-F238E27FC236}">
                    <a16:creationId xmlns:a16="http://schemas.microsoft.com/office/drawing/2014/main" id="{E95E7893-81E0-4406-4842-9B215C052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BA99966A-28DB-B04C-103C-217AF2223490}"/>
              </a:ext>
            </a:extLst>
          </p:cNvPr>
          <p:cNvSpPr/>
          <p:nvPr/>
        </p:nvSpPr>
        <p:spPr>
          <a:xfrm rot="5400000">
            <a:off x="885030" y="3091265"/>
            <a:ext cx="990379" cy="9904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DB8068-D848-CC51-41C9-482E9EBDAF56}"/>
              </a:ext>
            </a:extLst>
          </p:cNvPr>
          <p:cNvGrpSpPr/>
          <p:nvPr/>
        </p:nvGrpSpPr>
        <p:grpSpPr>
          <a:xfrm>
            <a:off x="2286531" y="4492813"/>
            <a:ext cx="990429" cy="990384"/>
            <a:chOff x="3618856" y="3815779"/>
            <a:chExt cx="1068005" cy="106795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2AFAD62-31E1-74B4-0890-E42C8CCE2FC7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CBAA9424-5D8E-D8E5-3234-9A8E758C8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249F63E-44F6-EC9D-05B9-D96EC2D3B182}"/>
              </a:ext>
            </a:extLst>
          </p:cNvPr>
          <p:cNvGrpSpPr/>
          <p:nvPr/>
        </p:nvGrpSpPr>
        <p:grpSpPr>
          <a:xfrm>
            <a:off x="3277558" y="4082316"/>
            <a:ext cx="990429" cy="990384"/>
            <a:chOff x="3618856" y="2203534"/>
            <a:chExt cx="1068005" cy="106795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D8E66BA-816C-B53D-F943-DCEC2DBB0DBF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25FE3A5-72A7-1D08-D288-767429F948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32D95C16-40D6-7D36-A981-6E000B22E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6768D57D-4874-FE9A-97A9-F2FD38F9E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8">
                <a:extLst>
                  <a:ext uri="{FF2B5EF4-FFF2-40B4-BE49-F238E27FC236}">
                    <a16:creationId xmlns:a16="http://schemas.microsoft.com/office/drawing/2014/main" id="{933F2A2E-FF1D-4479-D736-F1E68395B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29">
                <a:extLst>
                  <a:ext uri="{FF2B5EF4-FFF2-40B4-BE49-F238E27FC236}">
                    <a16:creationId xmlns:a16="http://schemas.microsoft.com/office/drawing/2014/main" id="{3CD2C36E-4A17-BB8B-FE65-213CFE5D8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0">
                <a:extLst>
                  <a:ext uri="{FF2B5EF4-FFF2-40B4-BE49-F238E27FC236}">
                    <a16:creationId xmlns:a16="http://schemas.microsoft.com/office/drawing/2014/main" id="{6549D3C3-3A15-DCF0-EFA1-D8E120AAA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31">
                <a:extLst>
                  <a:ext uri="{FF2B5EF4-FFF2-40B4-BE49-F238E27FC236}">
                    <a16:creationId xmlns:a16="http://schemas.microsoft.com/office/drawing/2014/main" id="{5577784E-3ABD-2761-B059-3501387ED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B9C5FB9-F435-98A6-0694-6504B30FA221}"/>
              </a:ext>
            </a:extLst>
          </p:cNvPr>
          <p:cNvGrpSpPr/>
          <p:nvPr/>
        </p:nvGrpSpPr>
        <p:grpSpPr>
          <a:xfrm>
            <a:off x="3688055" y="3091289"/>
            <a:ext cx="990429" cy="990384"/>
            <a:chOff x="2254021" y="1541715"/>
            <a:chExt cx="1068005" cy="1067956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B34237D-1722-07FA-AADA-F7A39207D789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A51AB7F-5523-B526-366D-8E9CC6548BEE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3" name="Freeform 17">
                <a:extLst>
                  <a:ext uri="{FF2B5EF4-FFF2-40B4-BE49-F238E27FC236}">
                    <a16:creationId xmlns:a16="http://schemas.microsoft.com/office/drawing/2014/main" id="{17D9526E-5AD0-040F-76FA-D7914B6AA7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8">
                <a:extLst>
                  <a:ext uri="{FF2B5EF4-FFF2-40B4-BE49-F238E27FC236}">
                    <a16:creationId xmlns:a16="http://schemas.microsoft.com/office/drawing/2014/main" id="{F21EE89B-FE72-9188-8363-1189AAA04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5" name="Freeform 19">
                <a:extLst>
                  <a:ext uri="{FF2B5EF4-FFF2-40B4-BE49-F238E27FC236}">
                    <a16:creationId xmlns:a16="http://schemas.microsoft.com/office/drawing/2014/main" id="{574B2AAB-3C49-A71A-2F0F-D3DE232C65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AB088C-8E13-0850-475F-B93C71567513}"/>
              </a:ext>
            </a:extLst>
          </p:cNvPr>
          <p:cNvGrpSpPr/>
          <p:nvPr/>
        </p:nvGrpSpPr>
        <p:grpSpPr>
          <a:xfrm>
            <a:off x="3277558" y="2100262"/>
            <a:ext cx="990429" cy="990384"/>
            <a:chOff x="876630" y="2203535"/>
            <a:chExt cx="1068005" cy="1067956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C61875B-5DF1-CCAC-2DE5-708F5B30C8BA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333FD1D2-38C8-DA2B-1A0C-33A2AEFD3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5CBCAE02-062F-5978-FFFF-A07547750526}"/>
              </a:ext>
            </a:extLst>
          </p:cNvPr>
          <p:cNvSpPr/>
          <p:nvPr/>
        </p:nvSpPr>
        <p:spPr>
          <a:xfrm rot="5400000">
            <a:off x="1295527" y="2100238"/>
            <a:ext cx="990379" cy="9904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468856E-D828-9F5F-7309-E6E08BEFA13F}"/>
              </a:ext>
            </a:extLst>
          </p:cNvPr>
          <p:cNvSpPr/>
          <p:nvPr/>
        </p:nvSpPr>
        <p:spPr>
          <a:xfrm rot="5400000">
            <a:off x="1295527" y="4082292"/>
            <a:ext cx="990379" cy="9904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1" name="ZenIcon1">
            <a:extLst>
              <a:ext uri="{FF2B5EF4-FFF2-40B4-BE49-F238E27FC236}">
                <a16:creationId xmlns:a16="http://schemas.microsoft.com/office/drawing/2014/main" id="{9A043CF4-46F0-9EDB-44D0-196347C63C0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605157" y="2409893"/>
            <a:ext cx="371118" cy="371118"/>
            <a:chOff x="5712408" y="975680"/>
            <a:chExt cx="671729" cy="639391"/>
          </a:xfrm>
        </p:grpSpPr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90844D41-4AE4-1CED-9F4A-22ECC38E4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D9D64AB6-DA5F-51A5-B82D-35994EE7E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9B1202B0-4D3E-77DF-4BCC-588D06CF59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441486E5-FC9C-41D7-1209-B1622D8B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57DAAA5A-E8E5-67F9-7774-C4D4746C2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909462E7-7C2F-5F5C-C7C9-D3AE63EAD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8" name="ZenIcon2">
            <a:extLst>
              <a:ext uri="{FF2B5EF4-FFF2-40B4-BE49-F238E27FC236}">
                <a16:creationId xmlns:a16="http://schemas.microsoft.com/office/drawing/2014/main" id="{93E1EB04-E29F-0B25-EFFD-C4C5CE26796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194660" y="3400920"/>
            <a:ext cx="371118" cy="37111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>
              <a:latin typeface="+mn-lt"/>
            </a:endParaRPr>
          </a:p>
        </p:txBody>
      </p:sp>
      <p:sp>
        <p:nvSpPr>
          <p:cNvPr id="59" name="ZenIcon3">
            <a:extLst>
              <a:ext uri="{FF2B5EF4-FFF2-40B4-BE49-F238E27FC236}">
                <a16:creationId xmlns:a16="http://schemas.microsoft.com/office/drawing/2014/main" id="{0D962ABC-5F85-7501-154D-EFE506F3881F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605157" y="4391486"/>
            <a:ext cx="371118" cy="37204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60" name="Folded Corner 67">
            <a:extLst>
              <a:ext uri="{FF2B5EF4-FFF2-40B4-BE49-F238E27FC236}">
                <a16:creationId xmlns:a16="http://schemas.microsoft.com/office/drawing/2014/main" id="{20669F39-77D1-A439-0FFF-B8DB61D23043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1" name="Round Same Side Corner Rectangle 69">
            <a:extLst>
              <a:ext uri="{FF2B5EF4-FFF2-40B4-BE49-F238E27FC236}">
                <a16:creationId xmlns:a16="http://schemas.microsoft.com/office/drawing/2014/main" id="{AE23F3D7-D16D-B7B0-420B-3CA375BC8813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62" name="Inhaltsplatzhalter 4">
            <a:extLst>
              <a:ext uri="{FF2B5EF4-FFF2-40B4-BE49-F238E27FC236}">
                <a16:creationId xmlns:a16="http://schemas.microsoft.com/office/drawing/2014/main" id="{F9910750-7AF1-F443-E6FC-D3874A9CDC99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3449703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9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8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4</cp:revision>
  <dcterms:created xsi:type="dcterms:W3CDTF">2021-03-31T02:49:57Z</dcterms:created>
  <dcterms:modified xsi:type="dcterms:W3CDTF">2025-10-16T11:00:40Z</dcterms:modified>
  <cp:category/>
</cp:coreProperties>
</file>